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EEF8"/>
    <a:srgbClr val="FFFFFF"/>
    <a:srgbClr val="B63EC5"/>
    <a:srgbClr val="0078D4"/>
    <a:srgbClr val="B1B3B3"/>
    <a:srgbClr val="49C5B1"/>
    <a:srgbClr val="F5EBE9"/>
    <a:srgbClr val="593794"/>
    <a:srgbClr val="E4DFDC"/>
    <a:srgbClr val="E7E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6242" autoAdjust="0"/>
  </p:normalViewPr>
  <p:slideViewPr>
    <p:cSldViewPr snapToGrid="0">
      <p:cViewPr varScale="1">
        <p:scale>
          <a:sx n="99" d="100"/>
          <a:sy n="99" d="100"/>
        </p:scale>
        <p:origin x="858" y="3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6B5C021C36A4B948619657DF31541" ma:contentTypeVersion="13" ma:contentTypeDescription="Create a new document." ma:contentTypeScope="" ma:versionID="3179e1be26f23a129528d230448053e8">
  <xsd:schema xmlns:xsd="http://www.w3.org/2001/XMLSchema" xmlns:xs="http://www.w3.org/2001/XMLSchema" xmlns:p="http://schemas.microsoft.com/office/2006/metadata/properties" xmlns:ns1="http://schemas.microsoft.com/sharepoint/v3" xmlns:ns2="c12c9beb-9115-4dd4-b4b0-98592a7680e2" xmlns:ns3="9b9b331a-5640-4f50-a010-6cc4266aa39c" targetNamespace="http://schemas.microsoft.com/office/2006/metadata/properties" ma:root="true" ma:fieldsID="d3f859843280ba2968dbadbb5350bb26" ns1:_="" ns2:_="" ns3:_="">
    <xsd:import namespace="http://schemas.microsoft.com/sharepoint/v3"/>
    <xsd:import namespace="c12c9beb-9115-4dd4-b4b0-98592a7680e2"/>
    <xsd:import namespace="9b9b331a-5640-4f50-a010-6cc4266aa39c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2c9beb-9115-4dd4-b4b0-98592a7680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9b331a-5640-4f50-a010-6cc4266aa3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E4F575D1-D3E6-4B2E-81B9-7181EE16BCA3}">
  <ds:schemaRefs>
    <ds:schemaRef ds:uri="9b9b331a-5640-4f50-a010-6cc4266aa39c"/>
    <ds:schemaRef ds:uri="c12c9beb-9115-4dd4-b4b0-98592a7680e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906DCFC-57BE-471C-9AA9-8C94A7A505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549B3AD-9962-4CE5-8E0A-2C8D95E7DE3D}">
  <ds:schemaRefs>
    <ds:schemaRef ds:uri="http://schemas.openxmlformats.org/package/2006/metadata/core-properties"/>
    <ds:schemaRef ds:uri="http://purl.org/dc/terms/"/>
    <ds:schemaRef ds:uri="http://purl.org/dc/dcmitype/"/>
    <ds:schemaRef ds:uri="http://schemas.microsoft.com/sharepoint/v3"/>
    <ds:schemaRef ds:uri="http://schemas.microsoft.com/office/2006/metadata/properties"/>
    <ds:schemaRef ds:uri="http://schemas.microsoft.com/office/2006/documentManagement/types"/>
    <ds:schemaRef ds:uri="http://purl.org/dc/elements/1.1/"/>
    <ds:schemaRef ds:uri="9b9b331a-5640-4f50-a010-6cc4266aa39c"/>
    <ds:schemaRef ds:uri="http://schemas.microsoft.com/office/infopath/2007/PartnerControls"/>
    <ds:schemaRef ds:uri="c12c9beb-9115-4dd4-b4b0-98592a7680e2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1688</TotalTime>
  <Words>4916</Words>
  <Application>Microsoft Office PowerPoint</Application>
  <PresentationFormat>Widescreen</PresentationFormat>
  <Paragraphs>587</Paragraphs>
  <Slides>19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Aptos</vt:lpstr>
      <vt:lpstr>Arial</vt:lpstr>
      <vt:lpstr>Segoe UI</vt:lpstr>
      <vt:lpstr>Segoe UI </vt:lpstr>
      <vt:lpstr>Segoe UI Semibold</vt:lpstr>
      <vt:lpstr>Segoe UI Semilight</vt:lpstr>
      <vt:lpstr>Wingdings</vt:lpstr>
      <vt:lpstr>Light 16x9</vt:lpstr>
      <vt:lpstr>think-cell Slide</vt:lpstr>
      <vt:lpstr>Microsoft Scenario Library</vt:lpstr>
      <vt:lpstr>Top 10 to "Try First"</vt:lpstr>
      <vt:lpstr>AI value journey</vt:lpstr>
      <vt:lpstr>”Effort” level for each scenario  </vt:lpstr>
      <vt:lpstr>AI use cases for Financial Services</vt:lpstr>
      <vt:lpstr>AI Financial Services use cases</vt:lpstr>
      <vt:lpstr>AI use cases for Financial Services</vt:lpstr>
      <vt:lpstr>Financial advisory support system</vt:lpstr>
      <vt:lpstr>Speed credit memo generation</vt:lpstr>
      <vt:lpstr>Process a claim</vt:lpstr>
      <vt:lpstr>Issue a policy</vt:lpstr>
      <vt:lpstr>Create a quote</vt:lpstr>
      <vt:lpstr>Assist client understanding</vt:lpstr>
      <vt:lpstr>AI-assisted broker portfolio management</vt:lpstr>
      <vt:lpstr>Produce daily market reports</vt:lpstr>
      <vt:lpstr>Conduct company research</vt:lpstr>
      <vt:lpstr>Prepare for a client meeting</vt:lpstr>
      <vt:lpstr>Implement Know Your Customer (KYC) regulations</vt:lpstr>
      <vt:lpstr>A day in the life of an Analy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yl Schaal (SYNAXIS CORPORATION)</dc:creator>
  <cp:lastModifiedBy>Daryl Schaal</cp:lastModifiedBy>
  <cp:revision>5</cp:revision>
  <dcterms:created xsi:type="dcterms:W3CDTF">2024-09-25T15:39:48Z</dcterms:created>
  <dcterms:modified xsi:type="dcterms:W3CDTF">2025-04-13T19:58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96B5C021C36A4B948619657DF31541</vt:lpwstr>
  </property>
</Properties>
</file>